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4" r:id="rId2"/>
    <p:sldMasterId id="2147483686" r:id="rId3"/>
    <p:sldMasterId id="2147483698" r:id="rId4"/>
    <p:sldMasterId id="2147483711" r:id="rId5"/>
  </p:sldMasterIdLst>
  <p:notesMasterIdLst>
    <p:notesMasterId r:id="rId39"/>
  </p:notesMasterIdLst>
  <p:sldIdLst>
    <p:sldId id="317" r:id="rId6"/>
    <p:sldId id="291" r:id="rId7"/>
    <p:sldId id="292" r:id="rId8"/>
    <p:sldId id="293" r:id="rId9"/>
    <p:sldId id="298" r:id="rId10"/>
    <p:sldId id="294" r:id="rId11"/>
    <p:sldId id="295" r:id="rId12"/>
    <p:sldId id="296" r:id="rId13"/>
    <p:sldId id="301" r:id="rId14"/>
    <p:sldId id="297" r:id="rId15"/>
    <p:sldId id="300" r:id="rId16"/>
    <p:sldId id="302" r:id="rId17"/>
    <p:sldId id="303" r:id="rId18"/>
    <p:sldId id="304" r:id="rId19"/>
    <p:sldId id="305" r:id="rId20"/>
    <p:sldId id="306" r:id="rId21"/>
    <p:sldId id="307" r:id="rId22"/>
    <p:sldId id="308" r:id="rId23"/>
    <p:sldId id="309" r:id="rId24"/>
    <p:sldId id="313" r:id="rId25"/>
    <p:sldId id="320" r:id="rId26"/>
    <p:sldId id="321" r:id="rId27"/>
    <p:sldId id="322" r:id="rId28"/>
    <p:sldId id="310" r:id="rId29"/>
    <p:sldId id="273" r:id="rId30"/>
    <p:sldId id="274" r:id="rId31"/>
    <p:sldId id="311" r:id="rId32"/>
    <p:sldId id="284" r:id="rId33"/>
    <p:sldId id="290" r:id="rId34"/>
    <p:sldId id="315" r:id="rId35"/>
    <p:sldId id="319" r:id="rId36"/>
    <p:sldId id="282" r:id="rId37"/>
    <p:sldId id="281" r:id="rId3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sh Eveleth" initials="JE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73" d="100"/>
          <a:sy n="73" d="100"/>
        </p:scale>
        <p:origin x="-1688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25.xml"/><Relationship Id="rId31" Type="http://schemas.openxmlformats.org/officeDocument/2006/relationships/slide" Target="slides/slide26.xml"/><Relationship Id="rId32" Type="http://schemas.openxmlformats.org/officeDocument/2006/relationships/slide" Target="slides/slide27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slide" Target="slides/slide28.xml"/><Relationship Id="rId34" Type="http://schemas.openxmlformats.org/officeDocument/2006/relationships/slide" Target="slides/slide29.xml"/><Relationship Id="rId35" Type="http://schemas.openxmlformats.org/officeDocument/2006/relationships/slide" Target="slides/slide30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Relationship Id="rId37" Type="http://schemas.openxmlformats.org/officeDocument/2006/relationships/slide" Target="slides/slide32.xml"/><Relationship Id="rId38" Type="http://schemas.openxmlformats.org/officeDocument/2006/relationships/slide" Target="slides/slide33.xml"/><Relationship Id="rId39" Type="http://schemas.openxmlformats.org/officeDocument/2006/relationships/notesMaster" Target="notesMasters/notesMaster1.xml"/><Relationship Id="rId40" Type="http://schemas.openxmlformats.org/officeDocument/2006/relationships/printerSettings" Target="printerSettings/printerSettings1.bin"/><Relationship Id="rId41" Type="http://schemas.openxmlformats.org/officeDocument/2006/relationships/commentAuthors" Target="commentAuthors.xml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1-02-08T09:22:07.695" idx="2">
    <p:pos x="5472" y="240"/>
    <p:text>ALT SLIDE for businesses that have used other crowdsourcing systems.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Relationship Id="rId2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50D8C6-95EB-E842-B9D4-876A505D1479}" type="datetimeFigureOut">
              <a:rPr lang="en-US" smtClean="0"/>
              <a:t>9/9/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1FF5DB-3BCE-7445-A957-DD23FABCCF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811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EB69B4-210B-4DA2-8CF6-798DDFC4087B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  <a:latin typeface="Calibri"/>
              </a:rPr>
              <a:t>© 2011 crowdflower 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6FDF566-8E34-40CD-97F9-D07824AFADA1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2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  <a:latin typeface="Calibri"/>
              </a:rPr>
              <a:t>© 2011 crowdflower 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6FDF566-8E34-40CD-97F9-D07824AFADA1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2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024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>
                <a:latin typeface="Calibri" charset="0"/>
              </a:rPr>
              <a:t>Big conservative companies</a:t>
            </a:r>
          </a:p>
          <a:p>
            <a:pPr>
              <a:spcBef>
                <a:spcPct val="0"/>
              </a:spcBef>
            </a:pPr>
            <a:r>
              <a:rPr lang="en-US">
                <a:latin typeface="Calibri" charset="0"/>
              </a:rPr>
              <a:t>Take a mission critical business process and send it to millions of strangers on the internet?</a:t>
            </a:r>
          </a:p>
        </p:txBody>
      </p:sp>
      <p:sp>
        <p:nvSpPr>
          <p:cNvPr id="102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35634DA-F2CF-2440-8632-4326857C3A2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prstClr val="black"/>
                </a:solidFill>
                <a:latin typeface="Calibri"/>
              </a:rPr>
              <a:t>© 2011 CrowdFlower 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6FDF566-8E34-40CD-97F9-D07824AFADA1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2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his</a:t>
            </a:r>
            <a:r>
              <a:rPr lang="en-US" baseline="0" dirty="0" smtClean="0"/>
              <a:t> image was a bit clearer but thought made same point as school girls and men in factor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FECAEB-0883-324C-9304-5C1DC4737AE8}" type="slidenum">
              <a:rPr lang="en-US" smtClean="0"/>
              <a:pPr/>
              <a:t>30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ea typeface="+mn-ea"/>
                <a:cs typeface="+mn-cs"/>
              </a:rPr>
              <a:t>Patrick Meier from </a:t>
            </a:r>
            <a:r>
              <a:rPr lang="en-US" dirty="0" err="1" smtClean="0">
                <a:ea typeface="+mn-ea"/>
                <a:cs typeface="+mn-cs"/>
              </a:rPr>
              <a:t>Ushahidi</a:t>
            </a:r>
            <a:r>
              <a:rPr lang="en-US" dirty="0" smtClean="0">
                <a:ea typeface="+mn-ea"/>
                <a:cs typeface="+mn-cs"/>
              </a:rPr>
              <a:t> talked about 4636 last year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dirty="0" smtClean="0">
                <a:ea typeface="+mn-ea"/>
                <a:cs typeface="+mn-cs"/>
              </a:rPr>
              <a:t>Will it be reliable?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dirty="0" smtClean="0">
                <a:ea typeface="+mn-ea"/>
                <a:cs typeface="+mn-cs"/>
              </a:rPr>
              <a:t>Can we really coordinate thousands of volunteers over the internet?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ea typeface="+mn-ea"/>
                <a:cs typeface="+mn-cs"/>
              </a:rPr>
              <a:t>Seems hard, is har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>
              <a:ea typeface="+mn-ea"/>
              <a:cs typeface="+mn-cs"/>
            </a:endParaRPr>
          </a:p>
        </p:txBody>
      </p:sp>
      <p:sp>
        <p:nvSpPr>
          <p:cNvPr id="1126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54C6A66-0142-424E-944A-7B09EC4C57B9}" type="slidenum">
              <a:rPr lang="en-US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slideMaster" Target="../slideMasters/slideMaster4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7989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016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537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09800"/>
            <a:ext cx="8132826" cy="943238"/>
          </a:xfrm>
          <a:prstGeom prst="rect">
            <a:avLst/>
          </a:prstGeom>
        </p:spPr>
        <p:txBody>
          <a:bodyPr rIns="100584">
            <a:normAutofit/>
          </a:bodyPr>
          <a:lstStyle>
            <a:lvl1pPr algn="l">
              <a:buNone/>
              <a:defRPr sz="3200" b="0" cap="none">
                <a:solidFill>
                  <a:srgbClr val="00AEEF"/>
                </a:solidFill>
                <a:effectLst/>
                <a:latin typeface="Helvetica Neue"/>
                <a:cs typeface="Helvetica Neu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8963" y="3367088"/>
            <a:ext cx="8001000" cy="1509712"/>
          </a:xfrm>
        </p:spPr>
        <p:txBody>
          <a:bodyPr rIns="128016"/>
          <a:lstStyle>
            <a:lvl1pPr marL="0" indent="0" algn="l">
              <a:buNone/>
              <a:defRPr sz="2000">
                <a:solidFill>
                  <a:srgbClr val="262626"/>
                </a:solidFill>
                <a:latin typeface="Helvetica Neue"/>
                <a:cs typeface="Helvetica Neue"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88963" y="3153038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491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  <a:lvl2pPr>
              <a:defRPr>
                <a:solidFill>
                  <a:srgbClr val="262626"/>
                </a:solidFill>
              </a:defRPr>
            </a:lvl2pPr>
            <a:lvl3pPr>
              <a:defRPr>
                <a:solidFill>
                  <a:srgbClr val="262626"/>
                </a:solidFill>
              </a:defRPr>
            </a:lvl3pPr>
            <a:lvl4pPr>
              <a:defRPr>
                <a:solidFill>
                  <a:srgbClr val="262626"/>
                </a:solidFill>
              </a:defRPr>
            </a:lvl4pPr>
            <a:lvl5pPr>
              <a:defRPr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588963" y="1371600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10430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4307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17538" y="2165350"/>
            <a:ext cx="3748087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800600" y="2165350"/>
            <a:ext cx="3749675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2503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7481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3885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0443" y="4724400"/>
            <a:ext cx="5486400" cy="664536"/>
          </a:xfrm>
          <a:prstGeom prst="rect">
            <a:avLst/>
          </a:prstGeom>
        </p:spPr>
        <p:txBody>
          <a:bodyPr/>
          <a:lstStyle>
            <a:lvl1pPr marL="0" algn="r">
              <a:buNone/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0443" y="5388936"/>
            <a:ext cx="5486400" cy="91225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idx="1"/>
          </p:nvPr>
        </p:nvSpPr>
        <p:spPr>
          <a:xfrm>
            <a:off x="304800" y="249864"/>
            <a:ext cx="8534400" cy="4343400"/>
          </a:xfrm>
          <a:prstGeom prst="round2DiagRect">
            <a:avLst>
              <a:gd name="adj1" fmla="val 11403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6574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143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09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9743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369F6EDD-01AD-4E03-9A07-5FAC1BEB57D4}" type="datetimeFigureOut">
              <a:rPr lang="en-US">
                <a:solidFill>
                  <a:prstClr val="white"/>
                </a:solidFill>
                <a:latin typeface="Rockwell"/>
              </a:rPr>
              <a:pPr defTabSz="914400"/>
              <a:t>9/9/11</a:t>
            </a:fld>
            <a:endParaRPr lang="en-US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8FE0B8-0418-4D6A-B69A-E79C4FE3A193}" type="slidenum">
              <a:rPr lang="en-US">
                <a:solidFill>
                  <a:prstClr val="white"/>
                </a:solidFill>
                <a:latin typeface="Rockwell"/>
              </a:rPr>
              <a:pPr defTabSz="914400"/>
              <a:t>‹#›</a:t>
            </a:fld>
            <a:endParaRPr lang="en-US">
              <a:solidFill>
                <a:prstClr val="white"/>
              </a:solidFill>
              <a:latin typeface="Rockwell"/>
            </a:endParaRPr>
          </a:p>
        </p:txBody>
      </p:sp>
    </p:spTree>
    <p:extLst>
      <p:ext uri="{BB962C8B-B14F-4D97-AF65-F5344CB8AC3E}">
        <p14:creationId xmlns:p14="http://schemas.microsoft.com/office/powerpoint/2010/main" val="271106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8280400" y="254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80000" y="66294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115300" y="2794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</p:spTree>
    <p:extLst>
      <p:ext uri="{BB962C8B-B14F-4D97-AF65-F5344CB8AC3E}">
        <p14:creationId xmlns:p14="http://schemas.microsoft.com/office/powerpoint/2010/main" val="25123843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09800"/>
            <a:ext cx="8132826" cy="943238"/>
          </a:xfrm>
          <a:prstGeom prst="rect">
            <a:avLst/>
          </a:prstGeom>
        </p:spPr>
        <p:txBody>
          <a:bodyPr rIns="100584">
            <a:normAutofit/>
          </a:bodyPr>
          <a:lstStyle>
            <a:lvl1pPr algn="l">
              <a:buNone/>
              <a:defRPr sz="3200" b="0" cap="none">
                <a:solidFill>
                  <a:srgbClr val="00AEEF"/>
                </a:solidFill>
                <a:effectLst/>
                <a:latin typeface="Helvetica Neue"/>
                <a:cs typeface="Helvetica Neu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8963" y="3367088"/>
            <a:ext cx="8001000" cy="1509712"/>
          </a:xfrm>
        </p:spPr>
        <p:txBody>
          <a:bodyPr rIns="128016"/>
          <a:lstStyle>
            <a:lvl1pPr marL="0" indent="0" algn="l">
              <a:buNone/>
              <a:defRPr sz="2000">
                <a:solidFill>
                  <a:srgbClr val="262626"/>
                </a:solidFill>
                <a:latin typeface="Helvetica Neue"/>
                <a:cs typeface="Helvetica Neue"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88963" y="3153038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4538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  <a:lvl2pPr>
              <a:defRPr>
                <a:solidFill>
                  <a:srgbClr val="262626"/>
                </a:solidFill>
              </a:defRPr>
            </a:lvl2pPr>
            <a:lvl3pPr>
              <a:defRPr>
                <a:solidFill>
                  <a:srgbClr val="262626"/>
                </a:solidFill>
              </a:defRPr>
            </a:lvl3pPr>
            <a:lvl4pPr>
              <a:defRPr>
                <a:solidFill>
                  <a:srgbClr val="262626"/>
                </a:solidFill>
              </a:defRPr>
            </a:lvl4pPr>
            <a:lvl5pPr>
              <a:defRPr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588963" y="1371600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291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379824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17538" y="2165350"/>
            <a:ext cx="3748087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800600" y="2165350"/>
            <a:ext cx="3749675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63816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620441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7152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0443" y="4724400"/>
            <a:ext cx="5486400" cy="664536"/>
          </a:xfrm>
          <a:prstGeom prst="rect">
            <a:avLst/>
          </a:prstGeom>
        </p:spPr>
        <p:txBody>
          <a:bodyPr/>
          <a:lstStyle>
            <a:lvl1pPr marL="0" algn="r">
              <a:buNone/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0443" y="5388936"/>
            <a:ext cx="5486400" cy="91225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idx="1"/>
          </p:nvPr>
        </p:nvSpPr>
        <p:spPr>
          <a:xfrm>
            <a:off x="304800" y="249864"/>
            <a:ext cx="8534400" cy="4343400"/>
          </a:xfrm>
          <a:prstGeom prst="round2DiagRect">
            <a:avLst>
              <a:gd name="adj1" fmla="val 11403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58150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97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24814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8283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369F6EDD-01AD-4E03-9A07-5FAC1BEB57D4}" type="datetimeFigureOut">
              <a:rPr lang="en-US">
                <a:solidFill>
                  <a:prstClr val="white"/>
                </a:solidFill>
                <a:latin typeface="Rockwell"/>
              </a:rPr>
              <a:pPr defTabSz="914400"/>
              <a:t>9/9/11</a:t>
            </a:fld>
            <a:endParaRPr lang="en-US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8FE0B8-0418-4D6A-B69A-E79C4FE3A193}" type="slidenum">
              <a:rPr lang="en-US">
                <a:solidFill>
                  <a:prstClr val="white"/>
                </a:solidFill>
                <a:latin typeface="Rockwell"/>
              </a:rPr>
              <a:pPr defTabSz="914400"/>
              <a:t>‹#›</a:t>
            </a:fld>
            <a:endParaRPr lang="en-US">
              <a:solidFill>
                <a:prstClr val="white"/>
              </a:solidFill>
              <a:latin typeface="Rockwell"/>
            </a:endParaRPr>
          </a:p>
        </p:txBody>
      </p:sp>
    </p:spTree>
    <p:extLst>
      <p:ext uri="{BB962C8B-B14F-4D97-AF65-F5344CB8AC3E}">
        <p14:creationId xmlns:p14="http://schemas.microsoft.com/office/powerpoint/2010/main" val="9880504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8280400" y="254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5080000" y="66294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115300" y="2794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</p:spTree>
    <p:extLst>
      <p:ext uri="{BB962C8B-B14F-4D97-AF65-F5344CB8AC3E}">
        <p14:creationId xmlns:p14="http://schemas.microsoft.com/office/powerpoint/2010/main" val="17840045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97990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376878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753157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29130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31606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087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9512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4562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463054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79528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10884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9328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data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3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-45720" y="6550025"/>
            <a:ext cx="36576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 anchor="ctr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EC65DC-B9B3-490F-A15A-6EF54055FAA7}" type="slidenum">
              <a:rPr lang="en-US" sz="900">
                <a:solidFill>
                  <a:prstClr val="white">
                    <a:lumMod val="50000"/>
                  </a:prstClr>
                </a:solidFill>
                <a:latin typeface="Calibri"/>
                <a:cs typeface="Arial" pitchFamily="34" charset="0"/>
              </a:rPr>
              <a:pPr algn="ctr" defTabSz="9128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838200"/>
          </a:xfrm>
          <a:prstGeom prst="rect">
            <a:avLst/>
          </a:prstGeom>
          <a:solidFill>
            <a:srgbClr val="B9E2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39725" y="231801"/>
            <a:ext cx="7589520" cy="449263"/>
          </a:xfrm>
          <a:prstGeom prst="rect">
            <a:avLst/>
          </a:prstGeom>
        </p:spPr>
        <p:txBody>
          <a:bodyPr tIns="91440" bIns="0" anchor="t">
            <a:no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2400" b="1" baseline="0">
                <a:latin typeface="Ariel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BLANK SLIDE TITLE</a:t>
            </a:r>
            <a:endParaRPr lang="en-US" dirty="0"/>
          </a:p>
        </p:txBody>
      </p:sp>
      <p:sp>
        <p:nvSpPr>
          <p:cNvPr id="12" name="Text Placeholder 11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228600" y="30480"/>
            <a:ext cx="7239000" cy="7315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indent="-342900" defTabSz="914400">
              <a:spcBef>
                <a:spcPct val="20000"/>
              </a:spcBef>
              <a:defRPr/>
            </a:pPr>
            <a:endParaRPr lang="en-US" sz="2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>
            <p:custDataLst>
              <p:tags r:id="rId7"/>
            </p:custDataLst>
          </p:nvPr>
        </p:nvSpPr>
        <p:spPr>
          <a:xfrm>
            <a:off x="0" y="838200"/>
            <a:ext cx="9144000" cy="9144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100" y="6495163"/>
            <a:ext cx="1079500" cy="223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8988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09800"/>
            <a:ext cx="8132826" cy="943238"/>
          </a:xfrm>
          <a:prstGeom prst="rect">
            <a:avLst/>
          </a:prstGeom>
        </p:spPr>
        <p:txBody>
          <a:bodyPr rIns="100584">
            <a:normAutofit/>
          </a:bodyPr>
          <a:lstStyle>
            <a:lvl1pPr algn="l">
              <a:buNone/>
              <a:defRPr sz="3200" b="0" cap="none">
                <a:solidFill>
                  <a:srgbClr val="00AEEF"/>
                </a:solidFill>
                <a:effectLst/>
                <a:latin typeface="Helvetica Neue"/>
                <a:cs typeface="Helvetica Neue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8963" y="3367088"/>
            <a:ext cx="8001000" cy="1509712"/>
          </a:xfrm>
        </p:spPr>
        <p:txBody>
          <a:bodyPr rIns="128016"/>
          <a:lstStyle>
            <a:lvl1pPr marL="0" indent="0" algn="l">
              <a:buNone/>
              <a:defRPr sz="2000">
                <a:solidFill>
                  <a:srgbClr val="262626"/>
                </a:solidFill>
                <a:latin typeface="Helvetica Neue"/>
                <a:cs typeface="Helvetica Neue"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88963" y="3153038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4596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  <a:lvl2pPr>
              <a:defRPr>
                <a:solidFill>
                  <a:srgbClr val="262626"/>
                </a:solidFill>
              </a:defRPr>
            </a:lvl2pPr>
            <a:lvl3pPr>
              <a:defRPr>
                <a:solidFill>
                  <a:srgbClr val="262626"/>
                </a:solidFill>
              </a:defRPr>
            </a:lvl3pPr>
            <a:lvl4pPr>
              <a:defRPr>
                <a:solidFill>
                  <a:srgbClr val="262626"/>
                </a:solidFill>
              </a:defRPr>
            </a:lvl4pPr>
            <a:lvl5pPr>
              <a:defRPr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588963" y="1371600"/>
            <a:ext cx="8001063" cy="1588"/>
          </a:xfrm>
          <a:prstGeom prst="line">
            <a:avLst/>
          </a:prstGeom>
          <a:ln>
            <a:solidFill>
              <a:schemeClr val="tx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609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45920"/>
            <a:ext cx="4038600" cy="4526280"/>
          </a:xfrm>
        </p:spPr>
        <p:txBody>
          <a:bodyPr/>
          <a:lstStyle>
            <a:lvl1pPr>
              <a:defRPr sz="2800">
                <a:solidFill>
                  <a:srgbClr val="262626"/>
                </a:solidFill>
              </a:defRPr>
            </a:lvl1pPr>
            <a:lvl2pPr>
              <a:defRPr sz="2400">
                <a:solidFill>
                  <a:srgbClr val="262626"/>
                </a:solidFill>
              </a:defRPr>
            </a:lvl2pPr>
            <a:lvl3pPr>
              <a:defRPr sz="2000">
                <a:solidFill>
                  <a:srgbClr val="262626"/>
                </a:solidFill>
              </a:defRPr>
            </a:lvl3pPr>
            <a:lvl4pPr>
              <a:defRPr sz="1800">
                <a:solidFill>
                  <a:srgbClr val="262626"/>
                </a:solidFill>
              </a:defRPr>
            </a:lvl4pPr>
            <a:lvl5pPr>
              <a:defRPr sz="1800">
                <a:solidFill>
                  <a:srgbClr val="26262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75651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17538" y="2165350"/>
            <a:ext cx="3748087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800600" y="2165350"/>
            <a:ext cx="3749675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91440" indent="0" algn="l">
              <a:spcBef>
                <a:spcPts val="0"/>
              </a:spcBef>
              <a:buNone/>
              <a:defRPr sz="2200" b="0" cap="all" baseline="0"/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941763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45817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0442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73360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43700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0443" y="4724400"/>
            <a:ext cx="5486400" cy="664536"/>
          </a:xfrm>
          <a:prstGeom prst="rect">
            <a:avLst/>
          </a:prstGeom>
        </p:spPr>
        <p:txBody>
          <a:bodyPr/>
          <a:lstStyle>
            <a:lvl1pPr marL="0" algn="r">
              <a:buNone/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0443" y="5388936"/>
            <a:ext cx="5486400" cy="912255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idx="1"/>
          </p:nvPr>
        </p:nvSpPr>
        <p:spPr>
          <a:xfrm>
            <a:off x="304800" y="249864"/>
            <a:ext cx="8534400" cy="4343400"/>
          </a:xfrm>
          <a:prstGeom prst="round2DiagRect">
            <a:avLst>
              <a:gd name="adj1" fmla="val 11403"/>
              <a:gd name="adj2" fmla="val 0"/>
            </a:avLst>
          </a:prstGeom>
          <a:solidFill>
            <a:schemeClr val="bg2">
              <a:tint val="85000"/>
              <a:shade val="90000"/>
              <a:satMod val="150000"/>
              <a:alpha val="65000"/>
            </a:schemeClr>
          </a:solidFill>
          <a:ln w="11000" cap="rnd" cmpd="sng" algn="ctr">
            <a:solidFill>
              <a:schemeClr val="bg2">
                <a:tint val="78000"/>
                <a:satMod val="180000"/>
                <a:alpha val="88000"/>
              </a:schemeClr>
            </a:solidFill>
            <a:prstDash val="solid"/>
          </a:ln>
          <a:effectLst>
            <a:innerShdw blurRad="114300">
              <a:srgbClr val="000000">
                <a:alpha val="10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35642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88963" y="1371600"/>
            <a:ext cx="8001000" cy="9525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2700" dist="12900" dir="5400000" algn="tl" rotWithShape="0">
              <a:srgbClr val="808080">
                <a:alpha val="75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  <a:latin typeface="Rockwell" pitchFamily="-112" charset="0"/>
              <a:ea typeface="ＭＳ Ｐゴシック" pitchFamily="-11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94368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2270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369F6EDD-01AD-4E03-9A07-5FAC1BEB57D4}" type="datetimeFigureOut">
              <a:rPr lang="en-US">
                <a:solidFill>
                  <a:prstClr val="white"/>
                </a:solidFill>
                <a:latin typeface="Rockwell"/>
              </a:rPr>
              <a:pPr defTabSz="914400"/>
              <a:t>9/9/11</a:t>
            </a:fld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en-US" dirty="0">
              <a:solidFill>
                <a:prstClr val="white"/>
              </a:solidFill>
              <a:latin typeface="Rockwel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8FE0B8-0418-4D6A-B69A-E79C4FE3A193}" type="slidenum">
              <a:rPr lang="en-US">
                <a:solidFill>
                  <a:prstClr val="white"/>
                </a:solidFill>
                <a:latin typeface="Rockwell"/>
              </a:rPr>
              <a:pPr defTabSz="914400"/>
              <a:t>‹#›</a:t>
            </a:fld>
            <a:endParaRPr lang="en-US" dirty="0">
              <a:solidFill>
                <a:prstClr val="white"/>
              </a:solidFill>
              <a:latin typeface="Rockwell"/>
            </a:endParaRPr>
          </a:p>
        </p:txBody>
      </p:sp>
    </p:spTree>
    <p:extLst>
      <p:ext uri="{BB962C8B-B14F-4D97-AF65-F5344CB8AC3E}">
        <p14:creationId xmlns:p14="http://schemas.microsoft.com/office/powerpoint/2010/main" val="5250959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912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806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302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790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image" Target="../media/image2.jpe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0.xml"/><Relationship Id="rId8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theme" Target="../theme/theme5.xml"/><Relationship Id="rId12" Type="http://schemas.openxmlformats.org/officeDocument/2006/relationships/image" Target="../media/image2.jpeg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FD5FF2-36DC-5241-93C6-839185A79CA9}" type="datetimeFigureOut">
              <a:rPr lang="en-US" smtClean="0"/>
              <a:t>9/9/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0F6EE5-0C93-E441-B53E-1C08C32BE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249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6462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0804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marL="53975" indent="-53975" algn="l" rtl="0" eaLnBrk="0" fontAlgn="base" hangingPunct="0">
        <a:spcBef>
          <a:spcPct val="0"/>
        </a:spcBef>
        <a:spcAft>
          <a:spcPct val="0"/>
        </a:spcAft>
        <a:defRPr sz="3200" strike="noStrike" kern="1200">
          <a:solidFill>
            <a:srgbClr val="00AEEF"/>
          </a:solidFill>
          <a:effectLst/>
          <a:latin typeface="Helvetica Neue"/>
          <a:ea typeface="ＭＳ Ｐゴシック" charset="-128"/>
          <a:cs typeface="Helvetica Neue"/>
        </a:defRPr>
      </a:lvl1pPr>
      <a:lvl2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2pPr>
      <a:lvl3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3pPr>
      <a:lvl4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4pPr>
      <a:lvl5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5pPr>
      <a:lvl6pPr marL="5111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6pPr>
      <a:lvl7pPr marL="9683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7pPr>
      <a:lvl8pPr marL="14255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8pPr>
      <a:lvl9pPr marL="18827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9pPr>
    </p:titleStyle>
    <p:bodyStyle>
      <a:lvl1pPr marL="0" indent="-27432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chemeClr val="tx1">
            <a:lumMod val="75000"/>
          </a:schemeClr>
        </a:buClr>
        <a:buSzPct val="105000"/>
        <a:buFont typeface="Arial"/>
        <a:buChar char="•"/>
        <a:defRPr sz="24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1pPr>
      <a:lvl2pPr marL="639763" indent="-2286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90000"/>
        <a:buChar char="•"/>
        <a:defRPr sz="20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2pPr>
      <a:lvl3pPr marL="822325" indent="-1905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Arial"/>
        <a:buChar char="•"/>
        <a:defRPr sz="18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3pPr>
      <a:lvl4pPr marL="1004888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4pPr>
      <a:lvl5pPr marL="1187450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5pPr>
      <a:lvl6pPr marL="137160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6462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3321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marL="53975" indent="-53975" algn="l" rtl="0" eaLnBrk="0" fontAlgn="base" hangingPunct="0">
        <a:spcBef>
          <a:spcPct val="0"/>
        </a:spcBef>
        <a:spcAft>
          <a:spcPct val="0"/>
        </a:spcAft>
        <a:defRPr sz="3200" strike="noStrike" kern="1200">
          <a:solidFill>
            <a:srgbClr val="00AEEF"/>
          </a:solidFill>
          <a:effectLst/>
          <a:latin typeface="Helvetica Neue"/>
          <a:ea typeface="ＭＳ Ｐゴシック" charset="-128"/>
          <a:cs typeface="Helvetica Neue"/>
        </a:defRPr>
      </a:lvl1pPr>
      <a:lvl2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2pPr>
      <a:lvl3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3pPr>
      <a:lvl4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4pPr>
      <a:lvl5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5pPr>
      <a:lvl6pPr marL="5111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6pPr>
      <a:lvl7pPr marL="9683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7pPr>
      <a:lvl8pPr marL="14255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8pPr>
      <a:lvl9pPr marL="18827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9pPr>
    </p:titleStyle>
    <p:bodyStyle>
      <a:lvl1pPr marL="0" indent="-27432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chemeClr val="tx1">
            <a:lumMod val="75000"/>
          </a:schemeClr>
        </a:buClr>
        <a:buSzPct val="105000"/>
        <a:buFont typeface="Arial"/>
        <a:buChar char="•"/>
        <a:defRPr sz="24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1pPr>
      <a:lvl2pPr marL="639763" indent="-2286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90000"/>
        <a:buChar char="•"/>
        <a:defRPr sz="20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2pPr>
      <a:lvl3pPr marL="822325" indent="-1905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Arial"/>
        <a:buChar char="•"/>
        <a:defRPr sz="18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3pPr>
      <a:lvl4pPr marL="1004888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4pPr>
      <a:lvl5pPr marL="1187450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5pPr>
      <a:lvl6pPr marL="137160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2679BB-309A-A547-BC35-994016436A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/9/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3C916C-FC56-784D-A98F-82D1CDF1348F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1295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646238"/>
            <a:ext cx="8229600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6743700"/>
            <a:ext cx="9144000" cy="114300"/>
          </a:xfrm>
          <a:prstGeom prst="rect">
            <a:avLst/>
          </a:prstGeom>
          <a:solidFill>
            <a:srgbClr val="00AEEF"/>
          </a:solidFill>
          <a:ln w="127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810000" y="5860195"/>
            <a:ext cx="5334000" cy="79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09600" y="6476999"/>
            <a:ext cx="4572000" cy="180181"/>
          </a:xfrm>
          <a:prstGeom prst="rect">
            <a:avLst/>
          </a:prstGeom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Autofit/>
            <a:sp3d>
              <a:bevelT w="19050" h="12700"/>
            </a:sp3d>
          </a:bodyPr>
          <a:lstStyle/>
          <a:p>
            <a:pPr indent="-53975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aseline="18000" dirty="0">
                <a:solidFill>
                  <a:prstClr val="white">
                    <a:lumMod val="65000"/>
                  </a:prstClr>
                </a:solidFill>
                <a:latin typeface="Helvetica Neue"/>
                <a:ea typeface="ＭＳ Ｐゴシック" charset="-128"/>
                <a:cs typeface="Helvetica Neue"/>
              </a:rPr>
              <a:t>© 2011 CrowdFlower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04761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marL="53975" indent="-53975" algn="l" rtl="0" eaLnBrk="0" fontAlgn="base" hangingPunct="0">
        <a:spcBef>
          <a:spcPct val="0"/>
        </a:spcBef>
        <a:spcAft>
          <a:spcPct val="0"/>
        </a:spcAft>
        <a:defRPr sz="3200" strike="noStrike" kern="1200">
          <a:solidFill>
            <a:srgbClr val="00AEEF"/>
          </a:solidFill>
          <a:effectLst/>
          <a:latin typeface="Helvetica Neue"/>
          <a:ea typeface="ＭＳ Ｐゴシック" charset="-128"/>
          <a:cs typeface="Helvetica Neue"/>
        </a:defRPr>
      </a:lvl1pPr>
      <a:lvl2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2pPr>
      <a:lvl3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3pPr>
      <a:lvl4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4pPr>
      <a:lvl5pPr marL="53975" indent="-53975" algn="r" rtl="0" eaLnBrk="0" fontAlgn="base" hangingPunct="0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5pPr>
      <a:lvl6pPr marL="5111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6pPr>
      <a:lvl7pPr marL="9683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7pPr>
      <a:lvl8pPr marL="14255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8pPr>
      <a:lvl9pPr marL="1882775" indent="-53975" algn="r" rtl="0" fontAlgn="base">
        <a:spcBef>
          <a:spcPct val="0"/>
        </a:spcBef>
        <a:spcAft>
          <a:spcPct val="0"/>
        </a:spcAft>
        <a:defRPr sz="4600">
          <a:solidFill>
            <a:srgbClr val="E7EACB"/>
          </a:solidFill>
          <a:latin typeface="Rockwell" charset="0"/>
          <a:ea typeface="ＭＳ Ｐゴシック" charset="-128"/>
          <a:cs typeface="ＭＳ Ｐゴシック" charset="-128"/>
        </a:defRPr>
      </a:lvl9pPr>
    </p:titleStyle>
    <p:bodyStyle>
      <a:lvl1pPr marL="0" indent="-274320" algn="l" rtl="0" eaLnBrk="0" fontAlgn="base" hangingPunct="0">
        <a:lnSpc>
          <a:spcPct val="100000"/>
        </a:lnSpc>
        <a:spcBef>
          <a:spcPct val="0"/>
        </a:spcBef>
        <a:spcAft>
          <a:spcPts val="600"/>
        </a:spcAft>
        <a:buClr>
          <a:schemeClr val="tx1">
            <a:lumMod val="75000"/>
          </a:schemeClr>
        </a:buClr>
        <a:buSzPct val="105000"/>
        <a:buFont typeface="Arial"/>
        <a:buChar char="•"/>
        <a:defRPr sz="24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1pPr>
      <a:lvl2pPr marL="639763" indent="-2286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90000"/>
        <a:buChar char="•"/>
        <a:defRPr sz="20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2pPr>
      <a:lvl3pPr marL="822325" indent="-190500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Arial"/>
        <a:buChar char="•"/>
        <a:defRPr sz="18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3pPr>
      <a:lvl4pPr marL="1004888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4pPr>
      <a:lvl5pPr marL="1187450" indent="-182563" algn="l" rtl="0" eaLnBrk="0" fontAlgn="base" hangingPunct="0">
        <a:spcBef>
          <a:spcPts val="400"/>
        </a:spcBef>
        <a:spcAft>
          <a:spcPct val="0"/>
        </a:spcAft>
        <a:buClr>
          <a:schemeClr val="tx1">
            <a:lumMod val="75000"/>
          </a:schemeClr>
        </a:buClr>
        <a:buSzPct val="100000"/>
        <a:buFont typeface="Wingdings 2" pitchFamily="18" charset="2"/>
        <a:buChar char=""/>
        <a:defRPr sz="1600" strike="noStrike" kern="1200">
          <a:solidFill>
            <a:schemeClr val="bg1">
              <a:lumMod val="85000"/>
              <a:lumOff val="15000"/>
            </a:schemeClr>
          </a:solidFill>
          <a:latin typeface="Helvetica Neue"/>
          <a:ea typeface="ＭＳ Ｐゴシック" charset="-128"/>
          <a:cs typeface="Helvetica Neue"/>
        </a:defRPr>
      </a:lvl5pPr>
      <a:lvl6pPr marL="137160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73736" algn="l" rtl="0" eaLnBrk="1" latinLnBrk="0" hangingPunct="1">
        <a:spcBef>
          <a:spcPts val="400"/>
        </a:spcBef>
        <a:buClr>
          <a:schemeClr val="accent4"/>
        </a:buClr>
        <a:buFont typeface="Wingdings 2"/>
        <a:buChar char="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comments" Target="../comments/comment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46" Type="http://schemas.openxmlformats.org/officeDocument/2006/relationships/image" Target="../media/image31.emf"/><Relationship Id="rId47" Type="http://schemas.openxmlformats.org/officeDocument/2006/relationships/oleObject" Target="../embeddings/oleObject3.bin"/><Relationship Id="rId48" Type="http://schemas.openxmlformats.org/officeDocument/2006/relationships/image" Target="../media/image32.emf"/><Relationship Id="rId20" Type="http://schemas.openxmlformats.org/officeDocument/2006/relationships/tags" Target="../tags/tag26.xml"/><Relationship Id="rId21" Type="http://schemas.openxmlformats.org/officeDocument/2006/relationships/tags" Target="../tags/tag27.xml"/><Relationship Id="rId22" Type="http://schemas.openxmlformats.org/officeDocument/2006/relationships/tags" Target="../tags/tag28.xml"/><Relationship Id="rId23" Type="http://schemas.openxmlformats.org/officeDocument/2006/relationships/tags" Target="../tags/tag29.xml"/><Relationship Id="rId24" Type="http://schemas.openxmlformats.org/officeDocument/2006/relationships/tags" Target="../tags/tag30.xml"/><Relationship Id="rId25" Type="http://schemas.openxmlformats.org/officeDocument/2006/relationships/tags" Target="../tags/tag31.xml"/><Relationship Id="rId26" Type="http://schemas.openxmlformats.org/officeDocument/2006/relationships/tags" Target="../tags/tag32.xml"/><Relationship Id="rId27" Type="http://schemas.openxmlformats.org/officeDocument/2006/relationships/tags" Target="../tags/tag33.xml"/><Relationship Id="rId28" Type="http://schemas.openxmlformats.org/officeDocument/2006/relationships/tags" Target="../tags/tag34.xml"/><Relationship Id="rId29" Type="http://schemas.openxmlformats.org/officeDocument/2006/relationships/tags" Target="../tags/tag35.xml"/><Relationship Id="rId1" Type="http://schemas.openxmlformats.org/officeDocument/2006/relationships/vmlDrawing" Target="../drawings/vmlDrawing2.vml"/><Relationship Id="rId2" Type="http://schemas.openxmlformats.org/officeDocument/2006/relationships/tags" Target="../tags/tag8.xml"/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30" Type="http://schemas.openxmlformats.org/officeDocument/2006/relationships/tags" Target="../tags/tag36.xml"/><Relationship Id="rId31" Type="http://schemas.openxmlformats.org/officeDocument/2006/relationships/tags" Target="../tags/tag37.xml"/><Relationship Id="rId32" Type="http://schemas.openxmlformats.org/officeDocument/2006/relationships/tags" Target="../tags/tag38.xml"/><Relationship Id="rId9" Type="http://schemas.openxmlformats.org/officeDocument/2006/relationships/tags" Target="../tags/tag15.xml"/><Relationship Id="rId6" Type="http://schemas.openxmlformats.org/officeDocument/2006/relationships/tags" Target="../tags/tag12.xml"/><Relationship Id="rId7" Type="http://schemas.openxmlformats.org/officeDocument/2006/relationships/tags" Target="../tags/tag13.xml"/><Relationship Id="rId8" Type="http://schemas.openxmlformats.org/officeDocument/2006/relationships/tags" Target="../tags/tag14.xml"/><Relationship Id="rId33" Type="http://schemas.openxmlformats.org/officeDocument/2006/relationships/tags" Target="../tags/tag39.xml"/><Relationship Id="rId34" Type="http://schemas.openxmlformats.org/officeDocument/2006/relationships/tags" Target="../tags/tag40.xml"/><Relationship Id="rId35" Type="http://schemas.openxmlformats.org/officeDocument/2006/relationships/tags" Target="../tags/tag41.xml"/><Relationship Id="rId36" Type="http://schemas.openxmlformats.org/officeDocument/2006/relationships/tags" Target="../tags/tag42.xml"/><Relationship Id="rId10" Type="http://schemas.openxmlformats.org/officeDocument/2006/relationships/tags" Target="../tags/tag16.xml"/><Relationship Id="rId11" Type="http://schemas.openxmlformats.org/officeDocument/2006/relationships/tags" Target="../tags/tag17.xml"/><Relationship Id="rId12" Type="http://schemas.openxmlformats.org/officeDocument/2006/relationships/tags" Target="../tags/tag18.xml"/><Relationship Id="rId13" Type="http://schemas.openxmlformats.org/officeDocument/2006/relationships/tags" Target="../tags/tag19.xml"/><Relationship Id="rId14" Type="http://schemas.openxmlformats.org/officeDocument/2006/relationships/tags" Target="../tags/tag20.xml"/><Relationship Id="rId15" Type="http://schemas.openxmlformats.org/officeDocument/2006/relationships/tags" Target="../tags/tag21.xml"/><Relationship Id="rId16" Type="http://schemas.openxmlformats.org/officeDocument/2006/relationships/tags" Target="../tags/tag22.xml"/><Relationship Id="rId17" Type="http://schemas.openxmlformats.org/officeDocument/2006/relationships/tags" Target="../tags/tag23.xml"/><Relationship Id="rId18" Type="http://schemas.openxmlformats.org/officeDocument/2006/relationships/tags" Target="../tags/tag24.xml"/><Relationship Id="rId19" Type="http://schemas.openxmlformats.org/officeDocument/2006/relationships/tags" Target="../tags/tag25.xml"/><Relationship Id="rId37" Type="http://schemas.openxmlformats.org/officeDocument/2006/relationships/tags" Target="../tags/tag43.xml"/><Relationship Id="rId38" Type="http://schemas.openxmlformats.org/officeDocument/2006/relationships/tags" Target="../tags/tag44.xml"/><Relationship Id="rId39" Type="http://schemas.openxmlformats.org/officeDocument/2006/relationships/tags" Target="../tags/tag45.xml"/><Relationship Id="rId40" Type="http://schemas.openxmlformats.org/officeDocument/2006/relationships/tags" Target="../tags/tag46.xml"/><Relationship Id="rId41" Type="http://schemas.openxmlformats.org/officeDocument/2006/relationships/tags" Target="../tags/tag47.xml"/><Relationship Id="rId42" Type="http://schemas.openxmlformats.org/officeDocument/2006/relationships/tags" Target="../tags/tag48.xml"/><Relationship Id="rId43" Type="http://schemas.openxmlformats.org/officeDocument/2006/relationships/slideLayout" Target="../slideLayouts/slideLayout1.xml"/><Relationship Id="rId44" Type="http://schemas.openxmlformats.org/officeDocument/2006/relationships/notesSlide" Target="../notesSlides/notesSlide4.xml"/><Relationship Id="rId45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3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5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3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40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hyperlink" Target="mailto:____@crowdflower.com" TargetMode="External"/><Relationship Id="rId3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044" y="1440594"/>
            <a:ext cx="8251460" cy="449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920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825500"/>
            <a:ext cx="8724900" cy="520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355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10862" y="0"/>
            <a:ext cx="10653221" cy="7002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373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300" y="0"/>
            <a:ext cx="76253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133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500" y="0"/>
            <a:ext cx="79924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5238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0"/>
            <a:ext cx="77276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917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00" y="0"/>
            <a:ext cx="69609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3283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0" y="0"/>
            <a:ext cx="678513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1782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0" y="0"/>
            <a:ext cx="68051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910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900" y="0"/>
            <a:ext cx="69214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4231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00" y="0"/>
            <a:ext cx="818111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7475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900" y="0"/>
            <a:ext cx="7890933" cy="16095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8266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 descr="BLV_web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0039" y="1600200"/>
            <a:ext cx="5283922" cy="4648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flo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0448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ting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3211" y="1417638"/>
            <a:ext cx="6677255" cy="5452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885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sk Design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9695" b="969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546754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centives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l="-40370" r="-40370"/>
          <a:stretch>
            <a:fillRect/>
          </a:stretch>
        </p:blipFill>
        <p:spPr>
          <a:xfrm>
            <a:off x="-203865" y="1600200"/>
            <a:ext cx="9204474" cy="506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4378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rowdFlower</a:t>
            </a:r>
            <a:r>
              <a:rPr lang="en-US" dirty="0" smtClean="0"/>
              <a:t> Judgment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89198"/>
            <a:ext cx="9144000" cy="526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3921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or Efficiency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1800" b="1" dirty="0" smtClean="0"/>
              <a:t>    </a:t>
            </a:r>
            <a:endParaRPr lang="en-US" sz="1800" dirty="0"/>
          </a:p>
        </p:txBody>
      </p:sp>
      <p:pic>
        <p:nvPicPr>
          <p:cNvPr id="4" name="Picture 3" descr="outsourcing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600" y="1600200"/>
            <a:ext cx="4676775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448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bor Efficiency Solu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1800" b="1" dirty="0" smtClean="0"/>
              <a:t>    </a:t>
            </a:r>
            <a:endParaRPr lang="en-US" sz="1800" dirty="0"/>
          </a:p>
        </p:txBody>
      </p:sp>
      <p:pic>
        <p:nvPicPr>
          <p:cNvPr id="5" name="Picture 4" descr="crowdsourcing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1513" y="1600200"/>
            <a:ext cx="4676775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5942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2997200" y="1497013"/>
            <a:ext cx="187325" cy="1860550"/>
          </a:xfrm>
          <a:prstGeom prst="rect">
            <a:avLst/>
          </a:prstGeom>
          <a:solidFill>
            <a:schemeClr val="bg2"/>
          </a:solidFill>
          <a:ln>
            <a:noFill/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graphicFrame>
        <p:nvGraphicFramePr>
          <p:cNvPr id="1026" name="Object 5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8830629"/>
              </p:ext>
            </p:extLst>
          </p:nvPr>
        </p:nvGraphicFramePr>
        <p:xfrm>
          <a:off x="931863" y="1506538"/>
          <a:ext cx="3751262" cy="1854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Chart" r:id="rId45" imgW="3759200" imgH="1866900" progId="MSGraph.Chart.8">
                  <p:embed followColorScheme="full"/>
                </p:oleObj>
              </mc:Choice>
              <mc:Fallback>
                <p:oleObj name="Chart" r:id="rId45" imgW="3759200" imgH="18669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1863" y="1506538"/>
                        <a:ext cx="3751262" cy="1854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057275" y="1628775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auto">
          <a:xfrm>
            <a:off x="1057275" y="2733675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6"/>
            </p:custDataLst>
          </p:nvPr>
        </p:nvCxnSpPr>
        <p:spPr bwMode="auto">
          <a:xfrm>
            <a:off x="1057275" y="2238375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7"/>
            </p:custDataLst>
          </p:nvPr>
        </p:nvCxnSpPr>
        <p:spPr bwMode="auto">
          <a:xfrm>
            <a:off x="1057275" y="3228975"/>
            <a:ext cx="587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1" name="Freeform 10"/>
          <p:cNvSpPr/>
          <p:nvPr>
            <p:custDataLst>
              <p:tags r:id="rId8"/>
            </p:custDataLst>
          </p:nvPr>
        </p:nvSpPr>
        <p:spPr bwMode="auto">
          <a:xfrm>
            <a:off x="3033713" y="1787525"/>
            <a:ext cx="146050" cy="95250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 useBgFill="1">
        <p:nvSpPr>
          <p:cNvPr id="12" name="Freeform 11"/>
          <p:cNvSpPr/>
          <p:nvPr>
            <p:custDataLst>
              <p:tags r:id="rId9"/>
            </p:custDataLst>
          </p:nvPr>
        </p:nvSpPr>
        <p:spPr bwMode="auto">
          <a:xfrm>
            <a:off x="1038225" y="1787525"/>
            <a:ext cx="146050" cy="95250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13" name="Freeform 12"/>
          <p:cNvSpPr/>
          <p:nvPr>
            <p:custDataLst>
              <p:tags r:id="rId10"/>
            </p:custDataLst>
          </p:nvPr>
        </p:nvSpPr>
        <p:spPr bwMode="auto">
          <a:xfrm>
            <a:off x="3033713" y="1844675"/>
            <a:ext cx="146050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Freeform 13"/>
          <p:cNvSpPr/>
          <p:nvPr>
            <p:custDataLst>
              <p:tags r:id="rId11"/>
            </p:custDataLst>
          </p:nvPr>
        </p:nvSpPr>
        <p:spPr bwMode="auto">
          <a:xfrm>
            <a:off x="3033713" y="1787525"/>
            <a:ext cx="146050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Freeform 14"/>
          <p:cNvSpPr/>
          <p:nvPr>
            <p:custDataLst>
              <p:tags r:id="rId12"/>
            </p:custDataLst>
          </p:nvPr>
        </p:nvSpPr>
        <p:spPr bwMode="auto">
          <a:xfrm>
            <a:off x="1038225" y="1844675"/>
            <a:ext cx="146050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Freeform 15"/>
          <p:cNvSpPr/>
          <p:nvPr>
            <p:custDataLst>
              <p:tags r:id="rId13"/>
            </p:custDataLst>
          </p:nvPr>
        </p:nvSpPr>
        <p:spPr bwMode="auto">
          <a:xfrm>
            <a:off x="1038225" y="1787525"/>
            <a:ext cx="146050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Rectangle 16"/>
          <p:cNvSpPr/>
          <p:nvPr>
            <p:custDataLst>
              <p:tags r:id="rId14"/>
            </p:custDataLst>
          </p:nvPr>
        </p:nvSpPr>
        <p:spPr bwMode="auto">
          <a:xfrm>
            <a:off x="482600" y="1522413"/>
            <a:ext cx="493713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fontAlgn="auto">
              <a:defRPr/>
            </a:pPr>
            <a:fld id="{915C954D-A98E-470F-A5CB-D803F33A8E24}" type="datetime'''''''''''''6,''''''''0''''''''''''''''''''0''''''''''''''0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r" fontAlgn="auto">
                <a:defRPr/>
              </a:pPr>
              <a:t>6,000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482600" y="2132013"/>
            <a:ext cx="493713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fontAlgn="auto">
              <a:defRPr/>
            </a:pPr>
            <a:fld id="{74D944D6-0C69-4AE0-B610-3640A54BBD7F}" type="datetime'1'''''''''''',''''0''''0''''''''''''''''''''''''''0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r" fontAlgn="auto">
                <a:defRPr/>
              </a:pPr>
              <a:t>1,000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19" name="Rectangle 18"/>
          <p:cNvSpPr/>
          <p:nvPr>
            <p:custDataLst>
              <p:tags r:id="rId16"/>
            </p:custDataLst>
          </p:nvPr>
        </p:nvSpPr>
        <p:spPr bwMode="auto">
          <a:xfrm>
            <a:off x="647700" y="2627313"/>
            <a:ext cx="328613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fontAlgn="auto">
              <a:defRPr/>
            </a:pPr>
            <a:fld id="{EA8FF8DA-86C1-4746-ACAC-13DF24B961A7}" type="datetime'''''''''''''''50''''''''''''''''0''''''''''''''''''''''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r" fontAlgn="auto">
                <a:defRPr/>
              </a:pPr>
              <a:t>500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20" name="Rectangle 19"/>
          <p:cNvSpPr/>
          <p:nvPr>
            <p:custDataLst>
              <p:tags r:id="rId17"/>
            </p:custDataLst>
          </p:nvPr>
        </p:nvSpPr>
        <p:spPr bwMode="auto">
          <a:xfrm>
            <a:off x="866775" y="3122613"/>
            <a:ext cx="109538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 fontAlgn="auto">
              <a:defRPr/>
            </a:pPr>
            <a:fld id="{13B10C5D-C7FA-415B-9DA8-7D95EE92DDF5}" type="datetime'''''''''''''''''0''''''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r" fontAlgn="auto">
                <a:defRPr/>
              </a:pPr>
              <a:t>0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graphicFrame>
        <p:nvGraphicFramePr>
          <p:cNvPr id="1041" name="Object 20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6157864"/>
              </p:ext>
            </p:extLst>
          </p:nvPr>
        </p:nvGraphicFramePr>
        <p:xfrm>
          <a:off x="1106488" y="4840288"/>
          <a:ext cx="7226300" cy="1244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Chart" r:id="rId47" imgW="7239000" imgH="1257300" progId="MSGraph.Chart.8">
                  <p:embed followColorScheme="full"/>
                </p:oleObj>
              </mc:Choice>
              <mc:Fallback>
                <p:oleObj name="Chart" r:id="rId47" imgW="7239000" imgH="125730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6488" y="4840288"/>
                        <a:ext cx="7226300" cy="1244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Straight Connector 21"/>
          <p:cNvCxnSpPr/>
          <p:nvPr>
            <p:custDataLst>
              <p:tags r:id="rId19"/>
            </p:custDataLst>
          </p:nvPr>
        </p:nvCxnSpPr>
        <p:spPr bwMode="auto">
          <a:xfrm flipV="1">
            <a:off x="1554163" y="4583113"/>
            <a:ext cx="0" cy="107156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20"/>
            </p:custDataLst>
          </p:nvPr>
        </p:nvCxnSpPr>
        <p:spPr bwMode="auto">
          <a:xfrm>
            <a:off x="5041900" y="4583113"/>
            <a:ext cx="0" cy="3175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21"/>
            </p:custDataLst>
          </p:nvPr>
        </p:nvCxnSpPr>
        <p:spPr bwMode="auto">
          <a:xfrm>
            <a:off x="7885113" y="4583113"/>
            <a:ext cx="0" cy="1071562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22"/>
            </p:custDataLst>
          </p:nvPr>
        </p:nvCxnSpPr>
        <p:spPr bwMode="auto">
          <a:xfrm>
            <a:off x="1554163" y="4583113"/>
            <a:ext cx="3487737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23"/>
            </p:custDataLst>
          </p:nvPr>
        </p:nvCxnSpPr>
        <p:spPr bwMode="auto">
          <a:xfrm>
            <a:off x="5105400" y="4583113"/>
            <a:ext cx="277971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24"/>
            </p:custDataLst>
          </p:nvPr>
        </p:nvCxnSpPr>
        <p:spPr bwMode="auto">
          <a:xfrm flipV="1">
            <a:off x="5105400" y="4583113"/>
            <a:ext cx="0" cy="3175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>
            <p:custDataLst>
              <p:tags r:id="rId25"/>
            </p:custDataLst>
          </p:nvPr>
        </p:nvSpPr>
        <p:spPr bwMode="auto">
          <a:xfrm>
            <a:off x="7658100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61F9DAC8-B63E-4200-9BD7-1BD09C24AA8E}" type="datetime'6''-''''S''''''''''''''ep''''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6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29" name="Rectangle 28"/>
          <p:cNvSpPr/>
          <p:nvPr>
            <p:custDataLst>
              <p:tags r:id="rId26"/>
            </p:custDataLst>
          </p:nvPr>
        </p:nvSpPr>
        <p:spPr bwMode="auto">
          <a:xfrm>
            <a:off x="6248400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081D67A8-DE9E-48CE-93AC-6D953F11455B}" type="datetime'''''''''''''''''4''''-''''''''Se''''''''''''''p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4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0" name="Rectangle 29"/>
          <p:cNvSpPr/>
          <p:nvPr>
            <p:custDataLst>
              <p:tags r:id="rId27"/>
            </p:custDataLst>
          </p:nvPr>
        </p:nvSpPr>
        <p:spPr bwMode="auto">
          <a:xfrm>
            <a:off x="6953250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9CE67A0C-7620-4A81-B26A-A71F05E7B863}" type="datetime'''''''5-S''''''ep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5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1" name="Rectangle 30"/>
          <p:cNvSpPr/>
          <p:nvPr>
            <p:custDataLst>
              <p:tags r:id="rId28"/>
            </p:custDataLst>
          </p:nvPr>
        </p:nvSpPr>
        <p:spPr bwMode="auto">
          <a:xfrm>
            <a:off x="5546725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B528CC36-6A6C-4DA0-87FA-1F9C5D80CF42}" type="datetime'3''''''''-S''''''''''''''''''''''''''''''''''''''e''p''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3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2" name="Rectangle 31"/>
          <p:cNvSpPr/>
          <p:nvPr>
            <p:custDataLst>
              <p:tags r:id="rId29"/>
            </p:custDataLst>
          </p:nvPr>
        </p:nvSpPr>
        <p:spPr bwMode="auto">
          <a:xfrm>
            <a:off x="4845050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791BD3CE-661C-4BF9-AEAF-9EF8A9EEED37}" type="datetime'''''''''''''2-''''''''''''''''''''''''''''''''''S''ep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2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3" name="Rectangle 32"/>
          <p:cNvSpPr/>
          <p:nvPr>
            <p:custDataLst>
              <p:tags r:id="rId30"/>
            </p:custDataLst>
          </p:nvPr>
        </p:nvSpPr>
        <p:spPr bwMode="auto">
          <a:xfrm>
            <a:off x="4141788" y="6092825"/>
            <a:ext cx="4540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024BC7CA-63EC-4BF0-A25C-9D1CE54F92E5}" type="datetime'''''''''''1''''-S''''''''''''''''''''''''''''''''''''''ep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1-Sep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4" name="Rectangle 33"/>
          <p:cNvSpPr/>
          <p:nvPr>
            <p:custDataLst>
              <p:tags r:id="rId31"/>
            </p:custDataLst>
          </p:nvPr>
        </p:nvSpPr>
        <p:spPr bwMode="auto">
          <a:xfrm>
            <a:off x="3368675" y="6092825"/>
            <a:ext cx="585788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D3F6F0E2-0971-4DB8-8D95-8FE504BB92D9}" type="datetime'3''''''''''1''''''-''''''''''A''''''''''''''''''''''''''u''g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31-Aug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5" name="Rectangle 34"/>
          <p:cNvSpPr/>
          <p:nvPr>
            <p:custDataLst>
              <p:tags r:id="rId32"/>
            </p:custDataLst>
          </p:nvPr>
        </p:nvSpPr>
        <p:spPr bwMode="auto">
          <a:xfrm>
            <a:off x="2668588" y="6092825"/>
            <a:ext cx="5857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CCF16997-D3B5-4C01-8BC7-FCAE92F5456F}" type="datetime'''''''''''''3''0''''''''-''''''A''''''''''''u''''''g''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30-Aug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6" name="Rectangle 35"/>
          <p:cNvSpPr/>
          <p:nvPr>
            <p:custDataLst>
              <p:tags r:id="rId33"/>
            </p:custDataLst>
          </p:nvPr>
        </p:nvSpPr>
        <p:spPr bwMode="auto">
          <a:xfrm>
            <a:off x="1963738" y="6092825"/>
            <a:ext cx="5857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1A0C5DFA-6560-49B1-BD64-831B7EE0015B}" type="datetime'''''''''''''29-''''A''''''''''''''u''''''''''g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29-Aug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sp>
        <p:nvSpPr>
          <p:cNvPr id="37" name="Rectangle 36"/>
          <p:cNvSpPr/>
          <p:nvPr>
            <p:custDataLst>
              <p:tags r:id="rId34"/>
            </p:custDataLst>
          </p:nvPr>
        </p:nvSpPr>
        <p:spPr bwMode="auto">
          <a:xfrm>
            <a:off x="1258888" y="6092825"/>
            <a:ext cx="5857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defRPr/>
            </a:pPr>
            <a:fld id="{2230C9BC-91C2-4BEA-BAB2-9B390038D7C7}" type="datetime'''''2''8''''''-''''''A''''''''''''''u''''''''''''''''g'''''">
              <a:rPr lang="en-US" sz="1400">
                <a:solidFill>
                  <a:schemeClr val="tx1"/>
                </a:solidFill>
                <a:latin typeface="Futura Bk"/>
                <a:sym typeface="Futura Bk"/>
              </a:rPr>
              <a:pPr algn="ctr" fontAlgn="auto">
                <a:defRPr/>
              </a:pPr>
              <a:t>28-Aug</a:t>
            </a:fld>
            <a:endParaRPr lang="en-US" sz="1400" dirty="0">
              <a:solidFill>
                <a:schemeClr val="tx1"/>
              </a:solidFill>
              <a:latin typeface="Futura Bk"/>
              <a:sym typeface="Futura Bk"/>
            </a:endParaRPr>
          </a:p>
        </p:txBody>
      </p:sp>
      <p:cxnSp>
        <p:nvCxnSpPr>
          <p:cNvPr id="38" name="Straight Connector 37"/>
          <p:cNvCxnSpPr/>
          <p:nvPr>
            <p:custDataLst>
              <p:tags r:id="rId35"/>
            </p:custDataLst>
          </p:nvPr>
        </p:nvCxnSpPr>
        <p:spPr>
          <a:xfrm rot="10800000" flipV="1">
            <a:off x="541338" y="3352800"/>
            <a:ext cx="2471737" cy="368300"/>
          </a:xfrm>
          <a:prstGeom prst="line">
            <a:avLst/>
          </a:prstGeom>
          <a:ln w="635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36"/>
            </p:custDataLst>
          </p:nvPr>
        </p:nvCxnSpPr>
        <p:spPr>
          <a:xfrm>
            <a:off x="3195638" y="3348038"/>
            <a:ext cx="5672137" cy="373062"/>
          </a:xfrm>
          <a:prstGeom prst="line">
            <a:avLst/>
          </a:prstGeom>
          <a:ln w="6350">
            <a:solidFill>
              <a:srgbClr val="3D393B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0" name="Rectangle 23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479425" y="974725"/>
            <a:ext cx="5189538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1400" b="1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aily FTE for CrowdFlower tasks: May 2010 – Nov 2010</a:t>
            </a:r>
            <a:br>
              <a:rPr lang="en-US" altLang="ko-KR" sz="1400" b="1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ko-KR" sz="14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Number of FTEs</a:t>
            </a:r>
          </a:p>
        </p:txBody>
      </p:sp>
      <p:sp>
        <p:nvSpPr>
          <p:cNvPr id="1061" name="Rectangle 23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595313" y="3814763"/>
            <a:ext cx="51911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1400" b="1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aily FTE for CrowdFlower tasks: 8/28/2010 -  9/6/2010</a:t>
            </a:r>
            <a:br>
              <a:rPr lang="en-US" altLang="ko-KR" sz="1400" b="1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ko-KR" sz="14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Number of FTEs</a:t>
            </a:r>
          </a:p>
        </p:txBody>
      </p:sp>
      <p:sp>
        <p:nvSpPr>
          <p:cNvPr id="1062" name="Rectangle 23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2382838" y="4283075"/>
            <a:ext cx="1989137" cy="6461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u="sng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Scaling up</a:t>
            </a:r>
            <a: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/>
            </a:r>
            <a:b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5,689 FTEs in 5 days</a:t>
            </a:r>
            <a:endParaRPr lang="en-US" altLang="ko-KR" sz="140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63" name="Rectangle 23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5521325" y="4265613"/>
            <a:ext cx="2033588" cy="6461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en-US" altLang="ko-KR" sz="1400" b="1" u="sng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Scaling down</a:t>
            </a:r>
            <a: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/>
            </a:r>
            <a:b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altLang="ko-KR" sz="1400" b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5,685 FTEs in 4 days</a:t>
            </a:r>
            <a:endParaRPr lang="en-US" altLang="ko-KR" sz="140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5" name="Rectangle 44"/>
          <p:cNvSpPr/>
          <p:nvPr>
            <p:custDataLst>
              <p:tags r:id="rId41"/>
            </p:custDataLst>
          </p:nvPr>
        </p:nvSpPr>
        <p:spPr>
          <a:xfrm>
            <a:off x="5530850" y="4227513"/>
            <a:ext cx="2024063" cy="763587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46" name="Rectangle 45"/>
          <p:cNvSpPr/>
          <p:nvPr>
            <p:custDataLst>
              <p:tags r:id="rId42"/>
            </p:custDataLst>
          </p:nvPr>
        </p:nvSpPr>
        <p:spPr>
          <a:xfrm>
            <a:off x="2382838" y="4241800"/>
            <a:ext cx="1993900" cy="735013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786293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406400"/>
            <a:ext cx="86868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Workforce Elasticity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 bwMode="auto">
          <a:xfrm>
            <a:off x="7941733" y="1504890"/>
            <a:ext cx="897467" cy="32004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  <a:extLst/>
        </p:spPr>
        <p:txBody>
          <a:bodyPr rtlCol="0" anchor="ctr"/>
          <a:lstStyle/>
          <a:p>
            <a:pPr algn="ctr" defTabSz="914400"/>
            <a:r>
              <a:rPr lang="en-US" b="1" dirty="0">
                <a:solidFill>
                  <a:srgbClr val="FFFFFF"/>
                </a:solidFill>
                <a:latin typeface="Rockwell" pitchFamily="-112" charset="0"/>
                <a:ea typeface="ＭＳ Ｐゴシック" pitchFamily="-112" charset="-128"/>
              </a:rPr>
              <a:t>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301750" y="672465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endParaRPr lang="en-US" dirty="0">
              <a:solidFill>
                <a:prstClr val="black"/>
              </a:solidFill>
              <a:latin typeface="Rockwell"/>
            </a:endParaRPr>
          </a:p>
        </p:txBody>
      </p:sp>
      <p:pic>
        <p:nvPicPr>
          <p:cNvPr id="3" name="Picture 2" descr="Q1 Graphic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978" y="2057400"/>
            <a:ext cx="6260222" cy="4048277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 flipV="1">
            <a:off x="1893178" y="3639600"/>
            <a:ext cx="5752222" cy="12700"/>
          </a:xfrm>
          <a:prstGeom prst="line">
            <a:avLst/>
          </a:prstGeom>
          <a:ln>
            <a:solidFill>
              <a:schemeClr val="bg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962400" y="6096000"/>
            <a:ext cx="1149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2000" b="1" dirty="0">
                <a:solidFill>
                  <a:prstClr val="black"/>
                </a:solidFill>
                <a:latin typeface="TisaOT"/>
                <a:cs typeface="TisaOT"/>
              </a:rPr>
              <a:t>Q1 201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86000" y="2609868"/>
            <a:ext cx="13437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600" dirty="0">
                <a:solidFill>
                  <a:prstClr val="black"/>
                </a:solidFill>
                <a:latin typeface="Rockwell"/>
              </a:rPr>
              <a:t>Outsourcing</a:t>
            </a:r>
          </a:p>
        </p:txBody>
      </p:sp>
      <p:cxnSp>
        <p:nvCxnSpPr>
          <p:cNvPr id="23" name="Straight Arrow Connector 22"/>
          <p:cNvCxnSpPr/>
          <p:nvPr/>
        </p:nvCxnSpPr>
        <p:spPr>
          <a:xfrm>
            <a:off x="2947278" y="2980232"/>
            <a:ext cx="0" cy="608568"/>
          </a:xfrm>
          <a:prstGeom prst="straightConnector1">
            <a:avLst/>
          </a:prstGeom>
          <a:ln w="28575" cmpd="sng">
            <a:solidFill>
              <a:schemeClr val="bg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57200" y="1524000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ctr" defTabSz="914400"/>
            <a:r>
              <a:rPr lang="en-US" dirty="0">
                <a:solidFill>
                  <a:prstClr val="black"/>
                </a:solidFill>
                <a:latin typeface="Rockwell"/>
                <a:ea typeface="ヒラギノ明朝 Pro W3"/>
                <a:cs typeface="Helvetica Neue"/>
              </a:rPr>
              <a:t>Daily Worker Hours Needed to Mirror CrowdFlower Throughput</a:t>
            </a:r>
          </a:p>
        </p:txBody>
      </p:sp>
      <p:sp>
        <p:nvSpPr>
          <p:cNvPr id="14" name="TextBox 13"/>
          <p:cNvSpPr txBox="1"/>
          <p:nvPr/>
        </p:nvSpPr>
        <p:spPr>
          <a:xfrm rot="16200000">
            <a:off x="533400" y="3440668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b="1" dirty="0">
                <a:solidFill>
                  <a:prstClr val="black"/>
                </a:solidFill>
                <a:latin typeface="Helvetica Neue"/>
                <a:cs typeface="Helvetica Neue"/>
              </a:rPr>
              <a:t>Hours</a:t>
            </a:r>
          </a:p>
        </p:txBody>
      </p:sp>
    </p:spTree>
    <p:extLst>
      <p:ext uri="{BB962C8B-B14F-4D97-AF65-F5344CB8AC3E}">
        <p14:creationId xmlns:p14="http://schemas.microsoft.com/office/powerpoint/2010/main" val="37488468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owdFlower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6799" y="3429000"/>
            <a:ext cx="2743200" cy="457200"/>
          </a:xfrm>
        </p:spPr>
        <p:txBody>
          <a:bodyPr/>
          <a:lstStyle/>
          <a:p>
            <a:pPr>
              <a:buNone/>
            </a:pPr>
            <a:r>
              <a:rPr lang="en-US" sz="1600" dirty="0" smtClean="0"/>
              <a:t>Business Listing Verification</a:t>
            </a:r>
          </a:p>
        </p:txBody>
      </p:sp>
      <p:pic>
        <p:nvPicPr>
          <p:cNvPr id="5" name="Picture 4" descr="lead_gen-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4400" y="4038600"/>
            <a:ext cx="3754576" cy="1647914"/>
          </a:xfrm>
          <a:prstGeom prst="rect">
            <a:avLst/>
          </a:prstGeom>
        </p:spPr>
      </p:pic>
      <p:pic>
        <p:nvPicPr>
          <p:cNvPr id="6" name="Picture 5" descr="lead_gen-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1447800"/>
            <a:ext cx="4079815" cy="2349723"/>
          </a:xfrm>
          <a:prstGeom prst="rect">
            <a:avLst/>
          </a:prstGeom>
        </p:spPr>
      </p:pic>
      <p:pic>
        <p:nvPicPr>
          <p:cNvPr id="7" name="Picture 6" descr="lead_gen-01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6400" y="2019300"/>
            <a:ext cx="1295400" cy="1359076"/>
          </a:xfrm>
          <a:prstGeom prst="rect">
            <a:avLst/>
          </a:prstGeom>
        </p:spPr>
      </p:pic>
      <p:pic>
        <p:nvPicPr>
          <p:cNvPr id="8" name="Picture 7" descr="lead_gen-01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4191000"/>
            <a:ext cx="3853281" cy="1329267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219200" y="5715000"/>
            <a:ext cx="2743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-27432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50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ea typeface="ＭＳ Ｐゴシック" charset="-128"/>
                <a:cs typeface="Helvetica Neue"/>
              </a:rPr>
              <a:t>Product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ea typeface="ＭＳ Ｐゴシック" charset="-128"/>
                <a:cs typeface="Helvetica Neue"/>
              </a:rPr>
              <a:t> Categorization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ea typeface="ＭＳ Ｐゴシック" charset="-128"/>
              <a:cs typeface="Helvetica Neue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5715000" y="3424989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-27432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50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ea typeface="ＭＳ Ｐゴシック" charset="-128"/>
                <a:cs typeface="Helvetica Neue"/>
              </a:rPr>
              <a:t>Search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ea typeface="ＭＳ Ｐゴシック" charset="-128"/>
                <a:cs typeface="Helvetica Neue"/>
              </a:rPr>
              <a:t> Relevance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ea typeface="ＭＳ Ｐゴシック" charset="-128"/>
              <a:cs typeface="Helvetica Neue"/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5791200" y="5686514"/>
            <a:ext cx="228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-27432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Pct val="1050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ea typeface="ＭＳ Ｐゴシック" charset="-128"/>
                <a:cs typeface="Helvetica Neue"/>
              </a:rPr>
              <a:t>Lead Generation</a:t>
            </a:r>
          </a:p>
        </p:txBody>
      </p:sp>
    </p:spTree>
    <p:extLst>
      <p:ext uri="{BB962C8B-B14F-4D97-AF65-F5344CB8AC3E}">
        <p14:creationId xmlns:p14="http://schemas.microsoft.com/office/powerpoint/2010/main" val="587384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300" y="0"/>
            <a:ext cx="73731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170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0929" y="103445"/>
            <a:ext cx="8686794" cy="6635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963350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alogue Earth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-16708" b="-16708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084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50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>
          <a:xfrm>
            <a:off x="3005138" y="6334125"/>
            <a:ext cx="59563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3005138" y="4503738"/>
            <a:ext cx="0" cy="16637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00" name="TextBox 15"/>
          <p:cNvSpPr txBox="1">
            <a:spLocks noChangeArrowheads="1"/>
          </p:cNvSpPr>
          <p:nvPr/>
        </p:nvSpPr>
        <p:spPr bwMode="auto">
          <a:xfrm>
            <a:off x="0" y="4548188"/>
            <a:ext cx="2835275" cy="175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3600">
                <a:solidFill>
                  <a:prstClr val="black"/>
                </a:solidFill>
              </a:rPr>
              <a:t>Need for </a:t>
            </a:r>
          </a:p>
          <a:p>
            <a:r>
              <a:rPr lang="en-US" sz="3600">
                <a:solidFill>
                  <a:prstClr val="black"/>
                </a:solidFill>
              </a:rPr>
              <a:t>Kreyol-English </a:t>
            </a:r>
          </a:p>
          <a:p>
            <a:r>
              <a:rPr lang="en-US" sz="3600">
                <a:solidFill>
                  <a:prstClr val="black"/>
                </a:solidFill>
              </a:rPr>
              <a:t>Translators</a:t>
            </a:r>
          </a:p>
        </p:txBody>
      </p:sp>
      <p:sp>
        <p:nvSpPr>
          <p:cNvPr id="4101" name="TextBox 16"/>
          <p:cNvSpPr txBox="1">
            <a:spLocks noChangeArrowheads="1"/>
          </p:cNvSpPr>
          <p:nvPr/>
        </p:nvSpPr>
        <p:spPr bwMode="auto">
          <a:xfrm>
            <a:off x="3005138" y="6321425"/>
            <a:ext cx="26511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en-US" sz="2800">
                <a:solidFill>
                  <a:prstClr val="black"/>
                </a:solidFill>
              </a:rPr>
              <a:t>January 12, 2010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3005138" y="6224588"/>
            <a:ext cx="1019175" cy="0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024313" y="4310063"/>
            <a:ext cx="0" cy="1914525"/>
          </a:xfrm>
          <a:prstGeom prst="line">
            <a:avLst/>
          </a:prstGeom>
          <a:ln>
            <a:solidFill>
              <a:srgbClr val="FF66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Freeform 19"/>
          <p:cNvSpPr/>
          <p:nvPr/>
        </p:nvSpPr>
        <p:spPr>
          <a:xfrm>
            <a:off x="4024313" y="4329113"/>
            <a:ext cx="4857750" cy="1920875"/>
          </a:xfrm>
          <a:custGeom>
            <a:avLst/>
            <a:gdLst>
              <a:gd name="connsiteX0" fmla="*/ 0 w 4858074"/>
              <a:gd name="connsiteY0" fmla="*/ 0 h 2349668"/>
              <a:gd name="connsiteX1" fmla="*/ 357712 w 4858074"/>
              <a:gd name="connsiteY1" fmla="*/ 1073310 h 2349668"/>
              <a:gd name="connsiteX2" fmla="*/ 965821 w 4858074"/>
              <a:gd name="connsiteY2" fmla="*/ 1860403 h 2349668"/>
              <a:gd name="connsiteX3" fmla="*/ 1609702 w 4858074"/>
              <a:gd name="connsiteY3" fmla="*/ 2146619 h 2349668"/>
              <a:gd name="connsiteX4" fmla="*/ 3326717 w 4858074"/>
              <a:gd name="connsiteY4" fmla="*/ 2271839 h 2349668"/>
              <a:gd name="connsiteX5" fmla="*/ 4811220 w 4858074"/>
              <a:gd name="connsiteY5" fmla="*/ 2307616 h 234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58074" h="2349668">
                <a:moveTo>
                  <a:pt x="0" y="0"/>
                </a:moveTo>
                <a:cubicBezTo>
                  <a:pt x="98371" y="381621"/>
                  <a:pt x="196742" y="763243"/>
                  <a:pt x="357712" y="1073310"/>
                </a:cubicBezTo>
                <a:cubicBezTo>
                  <a:pt x="518682" y="1383377"/>
                  <a:pt x="757156" y="1681518"/>
                  <a:pt x="965821" y="1860403"/>
                </a:cubicBezTo>
                <a:cubicBezTo>
                  <a:pt x="1174486" y="2039288"/>
                  <a:pt x="1216219" y="2078046"/>
                  <a:pt x="1609702" y="2146619"/>
                </a:cubicBezTo>
                <a:cubicBezTo>
                  <a:pt x="2003185" y="2215192"/>
                  <a:pt x="2793131" y="2245006"/>
                  <a:pt x="3326717" y="2271839"/>
                </a:cubicBezTo>
                <a:cubicBezTo>
                  <a:pt x="3860303" y="2298672"/>
                  <a:pt x="5115275" y="2408984"/>
                  <a:pt x="4811220" y="2307616"/>
                </a:cubicBezTo>
              </a:path>
            </a:pathLst>
          </a:custGeom>
          <a:ln>
            <a:solidFill>
              <a:srgbClr val="FF66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01089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</a:t>
            </a:r>
            <a:r>
              <a:rPr lang="en-US" dirty="0" smtClean="0"/>
              <a:t>me</a:t>
            </a:r>
            <a:r>
              <a:rPr lang="en-US" dirty="0" smtClean="0"/>
              <a:t> </a:t>
            </a:r>
            <a:r>
              <a:rPr lang="en-US" dirty="0" smtClean="0"/>
              <a:t>to learn mo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1265238"/>
            <a:ext cx="8229600" cy="4525962"/>
          </a:xfrm>
        </p:spPr>
        <p:txBody>
          <a:bodyPr>
            <a:normAutofit/>
          </a:bodyPr>
          <a:lstStyle/>
          <a:p>
            <a:pPr>
              <a:buNone/>
            </a:pPr>
            <a:endParaRPr lang="en-US" dirty="0" smtClean="0">
              <a:latin typeface="TisaOT"/>
              <a:cs typeface="TisaOT"/>
            </a:endParaRP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</a:rPr>
              <a:t>CrowdFlower</a:t>
            </a: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</a:rPr>
              <a:t>2111 Mission Street, Suite 302</a:t>
            </a: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</a:rPr>
              <a:t>San Francisco, CA 94110</a:t>
            </a: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</a:rPr>
              <a:t>(415) 651-4485</a:t>
            </a: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  <a:hlinkClick r:id="rId2"/>
              </a:rPr>
              <a:t>lukas@</a:t>
            </a:r>
            <a:r>
              <a:rPr lang="en-US" dirty="0" smtClean="0">
                <a:latin typeface="TisaOT"/>
                <a:cs typeface="TisaOT"/>
                <a:hlinkClick r:id="rId2"/>
              </a:rPr>
              <a:t>crowdflower.com</a:t>
            </a:r>
            <a:endParaRPr lang="en-US" dirty="0" smtClean="0">
              <a:latin typeface="TisaOT"/>
              <a:cs typeface="TisaOT"/>
            </a:endParaRPr>
          </a:p>
          <a:p>
            <a:pPr lvl="1">
              <a:buNone/>
            </a:pPr>
            <a:endParaRPr lang="en-US" dirty="0">
              <a:latin typeface="TisaOT"/>
              <a:cs typeface="TisaOT"/>
            </a:endParaRPr>
          </a:p>
          <a:p>
            <a:pPr lvl="1">
              <a:buNone/>
            </a:pPr>
            <a:r>
              <a:rPr lang="en-US" dirty="0" smtClean="0">
                <a:latin typeface="TisaOT"/>
                <a:cs typeface="TisaOT"/>
              </a:rPr>
              <a:t>Twitter</a:t>
            </a:r>
            <a:r>
              <a:rPr lang="en-US" dirty="0" smtClean="0">
                <a:latin typeface="TisaOT"/>
                <a:cs typeface="TisaOT"/>
              </a:rPr>
              <a:t>: </a:t>
            </a:r>
            <a:r>
              <a:rPr lang="en-US" dirty="0">
                <a:latin typeface="TisaOT"/>
                <a:cs typeface="TisaOT"/>
              </a:rPr>
              <a:t>@CrowdFlower</a:t>
            </a:r>
          </a:p>
          <a:p>
            <a:pPr lvl="1">
              <a:buNone/>
            </a:pPr>
            <a:r>
              <a:rPr lang="en-US" dirty="0">
                <a:latin typeface="TisaOT"/>
                <a:cs typeface="TisaOT"/>
              </a:rPr>
              <a:t>blog.crowdflower.com</a:t>
            </a:r>
            <a:endParaRPr lang="en-US" dirty="0" smtClean="0">
              <a:latin typeface="TisaOT"/>
              <a:cs typeface="TisaOT"/>
            </a:endParaRPr>
          </a:p>
          <a:p>
            <a:pPr lvl="1">
              <a:buNone/>
            </a:pPr>
            <a:endParaRPr lang="en-US" dirty="0" smtClean="0">
              <a:latin typeface="TisaOT"/>
              <a:cs typeface="TisaOT"/>
            </a:endParaRPr>
          </a:p>
        </p:txBody>
      </p:sp>
      <p:pic>
        <p:nvPicPr>
          <p:cNvPr id="6" name="Picture 5" descr="Screen shot 2011-02-08 at 10.29.26 AM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7751" y="2209799"/>
            <a:ext cx="3413249" cy="2895600"/>
          </a:xfrm>
          <a:prstGeom prst="rect">
            <a:avLst/>
          </a:prstGeom>
        </p:spPr>
      </p:pic>
      <p:sp>
        <p:nvSpPr>
          <p:cNvPr id="7" name="Line Callout 3 6"/>
          <p:cNvSpPr/>
          <p:nvPr/>
        </p:nvSpPr>
        <p:spPr>
          <a:xfrm>
            <a:off x="4511551" y="1816100"/>
            <a:ext cx="1844125" cy="485296"/>
          </a:xfrm>
          <a:prstGeom prst="borderCallout3">
            <a:avLst>
              <a:gd name="adj1" fmla="val 18750"/>
              <a:gd name="adj2" fmla="val -8333"/>
              <a:gd name="adj3" fmla="val 18750"/>
              <a:gd name="adj4" fmla="val -16667"/>
              <a:gd name="adj5" fmla="val 100000"/>
              <a:gd name="adj6" fmla="val -16667"/>
              <a:gd name="adj7" fmla="val 196190"/>
              <a:gd name="adj8" fmla="val 59409"/>
            </a:avLst>
          </a:prstGeom>
          <a:ln w="38100" cmpd="sng">
            <a:tailEnd type="stealt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1400" b="1" dirty="0">
                <a:solidFill>
                  <a:prstClr val="white"/>
                </a:solidFill>
                <a:latin typeface="Rockwell"/>
              </a:rPr>
              <a:t>CrowdFlower</a:t>
            </a:r>
          </a:p>
        </p:txBody>
      </p:sp>
    </p:spTree>
    <p:extLst>
      <p:ext uri="{BB962C8B-B14F-4D97-AF65-F5344CB8AC3E}">
        <p14:creationId xmlns:p14="http://schemas.microsoft.com/office/powerpoint/2010/main" val="1569595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300" y="0"/>
            <a:ext cx="7120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84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9901" y="0"/>
            <a:ext cx="5372101" cy="6885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176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400" y="1485900"/>
            <a:ext cx="7556500" cy="387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914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165" y="-1"/>
            <a:ext cx="7916335" cy="6871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073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2332" y="22678"/>
            <a:ext cx="5461001" cy="241844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8998" y="2441121"/>
            <a:ext cx="6540501" cy="426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107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t="5908" b="590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98278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y2E5IY3kyW9nj.7JFJ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SC5HpPfU6uwFbQNEu5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it7h.JVUeGwJ3oEEtC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iB_6g1u0mtByHsGhc5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ZDZeo.gEKd9XEXUpwf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UVJxM1xU20LUnjXzSY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RKvdss70e2sep_XT47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nhLORu3UmS_ytRs7c7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rtO.QoaUGJkDU18ORy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Jg.vAiCEWW9yBZY9Rh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fe_Z0iFEGflBQgITR2W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DxBoqA4UG36_nsGfP0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X3EDJAkimX6eYVtRE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aLZXDrMU6fp1nUpKQ.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lX_SoZUKmDDzAUzQe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Fk1HouI0y8_HT.htSW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oIiYCdj0Otux0Zdz4M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Jlo_.KnUGG9DfPOsS9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gce00akuuf7UZiz61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kMr8iGS0mKokihT4fk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NRRMtZwkamtzqHpikU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kK45oadEaTqnR5Lm93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9LUfMgP0SvFkiXTn0B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K7PTuQVES81p3Uhyf2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ap3mgpV0OFb.2d7sww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iyqLMVkyELu8WvVnF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d0aUBxJ0m1FLgRE0gR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yPdADIfkW7Ucg2_R5v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Us1h2kEaDJonqIzHO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vHj6k91kuXmeL8272.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GvEydT0OKwSGFBLQrV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WUedOxJEGit.uZx._Y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o.gUqmqUuRWDgLOvQU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.5HvlcEGZwimkGi5M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j.gWf0AEu_UCByR6Ec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MT1R6OSEWlZ6piQ3U7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tm1xJ8R0iaqtUTx.Tr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0QBEM8gkmatnYMW5E0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03Kf4IpkCHwttQrQq6S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flcb.pokuHN9Vozt3Y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e9z8EI9EGRuZqJ7Fh3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oUyooBck2a0_b.hiMR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X2.j9LVUKrr3hK4.6e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xDOIWyhki9yUhDBBHZ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YLhErmzkSxBHjK8.MO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H8.GM3hkeo5BJ1FDNV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fHiWj_20mze7LtkNUx5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Foundr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oundry">
      <a:maj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5000"/>
                <a:satMod val="400000"/>
              </a:schemeClr>
            </a:gs>
            <a:gs pos="20000">
              <a:schemeClr val="phClr">
                <a:tint val="80000"/>
                <a:satMod val="355000"/>
              </a:schemeClr>
            </a:gs>
            <a:gs pos="100000">
              <a:schemeClr val="phClr">
                <a:tint val="95000"/>
                <a:shade val="55000"/>
                <a:satMod val="355000"/>
              </a:schemeClr>
            </a:gs>
          </a:gsLst>
          <a:path path="circle">
            <a:fillToRect l="67500" t="35000" r="32500" b="65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0"/>
                <a:satMod val="120000"/>
              </a:schemeClr>
              <a:schemeClr val="phClr">
                <a:tint val="70000"/>
                <a:satMod val="250000"/>
              </a:schemeClr>
            </a:duotone>
          </a:blip>
          <a:tile tx="0" ty="0" sx="50000" sy="50000" flip="none" algn="t"/>
        </a:blipFill>
      </a:bgFillStyleLst>
    </a:fmtScheme>
  </a:themeElements>
  <a:objectDefaults>
    <a:spDef>
      <a:spPr bwMode="auto">
        <a:solidFill>
          <a:srgbClr val="00AEEF"/>
        </a:solidFill>
        <a:ln>
          <a:noFill/>
        </a:ln>
        <a:effectLst>
          <a:outerShdw blurRad="12700" dist="12900" dir="5400000" algn="tl" rotWithShape="0">
            <a:srgbClr val="808080">
              <a:alpha val="75000"/>
            </a:srgbClr>
          </a:outerShdw>
        </a:effectLst>
        <a:extLst>
          <a:ext uri="{91240B29-F687-4f45-9708-019B960494DF}">
            <a14:hiddenLine xmlns:a14="http://schemas.microsoft.com/office/drawing/2010/main" w="38100" cap="rnd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rtlCol="0" anchor="ctr"/>
      <a:lstStyle>
        <a:defPPr algn="ctr">
          <a:defRPr sz="1800" b="1" dirty="0" smtClean="0">
            <a:solidFill>
              <a:srgbClr val="FFFFFF"/>
            </a:solidFill>
            <a:latin typeface="Rockwell" pitchFamily="-112" charset="0"/>
            <a:ea typeface="ＭＳ Ｐゴシック" pitchFamily="-112" charset="-128"/>
          </a:defRPr>
        </a:defPPr>
      </a:lstStyle>
    </a:spDef>
    <a:lnDef>
      <a:spPr>
        <a:ln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8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Foundr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oundry">
      <a:maj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5000"/>
                <a:satMod val="400000"/>
              </a:schemeClr>
            </a:gs>
            <a:gs pos="20000">
              <a:schemeClr val="phClr">
                <a:tint val="80000"/>
                <a:satMod val="355000"/>
              </a:schemeClr>
            </a:gs>
            <a:gs pos="100000">
              <a:schemeClr val="phClr">
                <a:tint val="95000"/>
                <a:shade val="55000"/>
                <a:satMod val="355000"/>
              </a:schemeClr>
            </a:gs>
          </a:gsLst>
          <a:path path="circle">
            <a:fillToRect l="67500" t="35000" r="32500" b="65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0"/>
                <a:satMod val="120000"/>
              </a:schemeClr>
              <a:schemeClr val="phClr">
                <a:tint val="70000"/>
                <a:satMod val="250000"/>
              </a:schemeClr>
            </a:duotone>
          </a:blip>
          <a:tile tx="0" ty="0" sx="50000" sy="50000" flip="none" algn="t"/>
        </a:blipFill>
      </a:bgFillStyleLst>
    </a:fmtScheme>
  </a:themeElements>
  <a:objectDefaults>
    <a:spDef>
      <a:spPr bwMode="auto">
        <a:solidFill>
          <a:srgbClr val="00AEEF"/>
        </a:solidFill>
        <a:ln>
          <a:noFill/>
        </a:ln>
        <a:effectLst>
          <a:outerShdw blurRad="12700" dist="12900" dir="5400000" algn="tl" rotWithShape="0">
            <a:srgbClr val="808080">
              <a:alpha val="75000"/>
            </a:srgbClr>
          </a:outerShdw>
        </a:effectLst>
        <a:extLst>
          <a:ext uri="{91240B29-F687-4f45-9708-019B960494DF}">
            <a14:hiddenLine xmlns:a14="http://schemas.microsoft.com/office/drawing/2010/main" w="38100" cap="rnd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rtlCol="0" anchor="ctr"/>
      <a:lstStyle>
        <a:defPPr algn="ctr">
          <a:defRPr sz="1800" b="1" dirty="0" smtClean="0">
            <a:solidFill>
              <a:srgbClr val="FFFFFF"/>
            </a:solidFill>
            <a:latin typeface="Rockwell" pitchFamily="-112" charset="0"/>
            <a:ea typeface="ＭＳ Ｐゴシック" pitchFamily="-112" charset="-128"/>
          </a:defRPr>
        </a:defPPr>
      </a:lstStyle>
    </a:spDef>
    <a:lnDef>
      <a:spPr>
        <a:ln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8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Foundr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oundry">
      <a:maj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微軟正黑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Rockwell"/>
        <a:ea typeface=""/>
        <a:cs typeface=""/>
        <a:font script="Grek" typeface="Cambria"/>
        <a:font script="Cyrl" typeface="Cambria"/>
        <a:font script="Jpan" typeface="ＭＳ 明朝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5000"/>
                <a:satMod val="400000"/>
              </a:schemeClr>
            </a:gs>
            <a:gs pos="20000">
              <a:schemeClr val="phClr">
                <a:tint val="80000"/>
                <a:satMod val="355000"/>
              </a:schemeClr>
            </a:gs>
            <a:gs pos="100000">
              <a:schemeClr val="phClr">
                <a:tint val="95000"/>
                <a:shade val="55000"/>
                <a:satMod val="355000"/>
              </a:schemeClr>
            </a:gs>
          </a:gsLst>
          <a:path path="circle">
            <a:fillToRect l="67500" t="35000" r="32500" b="65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0"/>
                <a:satMod val="120000"/>
              </a:schemeClr>
              <a:schemeClr val="phClr">
                <a:tint val="70000"/>
                <a:satMod val="250000"/>
              </a:schemeClr>
            </a:duotone>
          </a:blip>
          <a:tile tx="0" ty="0" sx="50000" sy="50000" flip="none" algn="t"/>
        </a:blipFill>
      </a:bgFillStyleLst>
    </a:fmtScheme>
  </a:themeElements>
  <a:objectDefaults>
    <a:spDef>
      <a:spPr bwMode="auto">
        <a:solidFill>
          <a:srgbClr val="00AEEF"/>
        </a:solidFill>
        <a:ln>
          <a:noFill/>
        </a:ln>
        <a:effectLst>
          <a:outerShdw blurRad="12700" dist="12900" dir="5400000" algn="tl" rotWithShape="0">
            <a:srgbClr val="808080">
              <a:alpha val="75000"/>
            </a:srgbClr>
          </a:outerShdw>
        </a:effectLst>
        <a:extLst>
          <a:ext uri="{91240B29-F687-4f45-9708-019B960494DF}">
            <a14:hiddenLine xmlns:a14="http://schemas.microsoft.com/office/drawing/2010/main" w="38100" cap="rnd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rtlCol="0" anchor="ctr"/>
      <a:lstStyle>
        <a:defPPr algn="ctr">
          <a:defRPr sz="1800" b="1" dirty="0" smtClean="0">
            <a:solidFill>
              <a:srgbClr val="FFFFFF"/>
            </a:solidFill>
            <a:latin typeface="Rockwell" pitchFamily="-112" charset="0"/>
            <a:ea typeface="ＭＳ Ｐゴシック" pitchFamily="-112" charset="-128"/>
          </a:defRPr>
        </a:defPPr>
      </a:lstStyle>
    </a:spDef>
    <a:lnDef>
      <a:spPr>
        <a:ln>
          <a:solidFill>
            <a:schemeClr val="bg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800" dirty="0" smtClean="0">
            <a:solidFill>
              <a:schemeClr val="bg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3</TotalTime>
  <Words>217</Words>
  <Application>Microsoft Macintosh PowerPoint</Application>
  <PresentationFormat>On-screen Show (4:3)</PresentationFormat>
  <Paragraphs>73</Paragraphs>
  <Slides>33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40" baseType="lpstr">
      <vt:lpstr>Office Theme</vt:lpstr>
      <vt:lpstr>1_Foundry</vt:lpstr>
      <vt:lpstr>Foundry</vt:lpstr>
      <vt:lpstr>1_Office Theme</vt:lpstr>
      <vt:lpstr>2_Foundry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a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orkflow</vt:lpstr>
      <vt:lpstr>Routing</vt:lpstr>
      <vt:lpstr>Task Design</vt:lpstr>
      <vt:lpstr>Incentives</vt:lpstr>
      <vt:lpstr>CrowdFlower Judgments</vt:lpstr>
      <vt:lpstr>Labor Efficiency Problem</vt:lpstr>
      <vt:lpstr>Labor Efficiency Solution</vt:lpstr>
      <vt:lpstr>PowerPoint Presentation</vt:lpstr>
      <vt:lpstr>Workforce Elasticity</vt:lpstr>
      <vt:lpstr>CrowdFlower Services</vt:lpstr>
      <vt:lpstr>PowerPoint Presentation</vt:lpstr>
      <vt:lpstr>Dialogue Earth</vt:lpstr>
      <vt:lpstr>PowerPoint Presentation</vt:lpstr>
      <vt:lpstr>Contact me to learn more</vt:lpstr>
    </vt:vector>
  </TitlesOfParts>
  <Company>CrowdFlow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BIEWALD</dc:creator>
  <cp:lastModifiedBy>LUKAS BIEWALD</cp:lastModifiedBy>
  <cp:revision>17</cp:revision>
  <dcterms:created xsi:type="dcterms:W3CDTF">2011-07-21T05:55:42Z</dcterms:created>
  <dcterms:modified xsi:type="dcterms:W3CDTF">2011-09-09T14:48:14Z</dcterms:modified>
</cp:coreProperties>
</file>